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3" y="34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0/04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0/04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19" Type="http://schemas.openxmlformats.org/officeDocument/2006/relationships/image" Target="../media/image6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33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5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Intégration du projet au sein de la région à minima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544507"/>
            <a:ext cx="5101094" cy="5038725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Unité d’œuvre en sortie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ypologie des ressources (bois ou autres </a:t>
            </a:r>
            <a:r>
              <a:rPr lang="fr-FR" i="1" dirty="0" err="1"/>
              <a:t>géosourcés</a:t>
            </a:r>
            <a:r>
              <a:rPr lang="fr-FR" i="1" dirty="0"/>
              <a:t>, bois recyclés, feuillus, résineux…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Niveau de contractualisation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lan d’approvisionnemen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ertification durable envisagé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0</TotalTime>
  <Words>1680</Words>
  <Application>Microsoft Office PowerPoint</Application>
  <PresentationFormat>Grand écran</PresentationFormat>
  <Paragraphs>219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3</cp:revision>
  <cp:lastPrinted>2017-04-19T15:45:38Z</cp:lastPrinted>
  <dcterms:created xsi:type="dcterms:W3CDTF">2015-06-10T16:17:23Z</dcterms:created>
  <dcterms:modified xsi:type="dcterms:W3CDTF">2022-04-20T12:57:05Z</dcterms:modified>
</cp:coreProperties>
</file>